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7A7FA1-9DD6-419C-87FF-F3445914817F}" v="49" dt="2023-03-15T23:46:04.6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A7A7FA1-9DD6-419C-87FF-F3445914817F}"/>
    <pc:docChg chg="modSld">
      <pc:chgData name="Roberto Gallardo" userId="49a044883f185952" providerId="LiveId" clId="{1A7A7FA1-9DD6-419C-87FF-F3445914817F}" dt="2023-03-15T23:46:15.777" v="191" actId="1076"/>
      <pc:docMkLst>
        <pc:docMk/>
      </pc:docMkLst>
      <pc:sldChg chg="addSp modSp mod">
        <pc:chgData name="Roberto Gallardo" userId="49a044883f185952" providerId="LiveId" clId="{1A7A7FA1-9DD6-419C-87FF-F3445914817F}" dt="2023-03-15T23:41:29.479" v="9" actId="1076"/>
        <pc:sldMkLst>
          <pc:docMk/>
          <pc:sldMk cId="1418533539" sldId="271"/>
        </pc:sldMkLst>
        <pc:picChg chg="add mod">
          <ac:chgData name="Roberto Gallardo" userId="49a044883f185952" providerId="LiveId" clId="{1A7A7FA1-9DD6-419C-87FF-F3445914817F}" dt="2023-03-15T23:41:29.479" v="9" actId="1076"/>
          <ac:picMkLst>
            <pc:docMk/>
            <pc:sldMk cId="1418533539" sldId="271"/>
            <ac:picMk id="6" creationId="{493CF19B-8C6B-9A1C-8B87-3A2CA8DAB8CA}"/>
          </ac:picMkLst>
        </pc:picChg>
      </pc:sldChg>
      <pc:sldChg chg="addSp modSp mod">
        <pc:chgData name="Roberto Gallardo" userId="49a044883f185952" providerId="LiveId" clId="{1A7A7FA1-9DD6-419C-87FF-F3445914817F}" dt="2023-03-15T23:43:07.714" v="60" actId="1076"/>
        <pc:sldMkLst>
          <pc:docMk/>
          <pc:sldMk cId="2124848710" sldId="281"/>
        </pc:sldMkLst>
        <pc:picChg chg="add mod">
          <ac:chgData name="Roberto Gallardo" userId="49a044883f185952" providerId="LiveId" clId="{1A7A7FA1-9DD6-419C-87FF-F3445914817F}" dt="2023-03-15T23:43:07.714" v="60" actId="1076"/>
          <ac:picMkLst>
            <pc:docMk/>
            <pc:sldMk cId="2124848710" sldId="281"/>
            <ac:picMk id="6" creationId="{3823E625-5180-B02D-E3FD-DA6C3716CF91}"/>
          </ac:picMkLst>
        </pc:picChg>
      </pc:sldChg>
      <pc:sldChg chg="addSp modSp mod">
        <pc:chgData name="Roberto Gallardo" userId="49a044883f185952" providerId="LiveId" clId="{1A7A7FA1-9DD6-419C-87FF-F3445914817F}" dt="2023-03-15T23:43:23.026" v="71" actId="1076"/>
        <pc:sldMkLst>
          <pc:docMk/>
          <pc:sldMk cId="2028175529" sldId="282"/>
        </pc:sldMkLst>
        <pc:picChg chg="add mod">
          <ac:chgData name="Roberto Gallardo" userId="49a044883f185952" providerId="LiveId" clId="{1A7A7FA1-9DD6-419C-87FF-F3445914817F}" dt="2023-03-15T23:43:23.026" v="71" actId="1076"/>
          <ac:picMkLst>
            <pc:docMk/>
            <pc:sldMk cId="2028175529" sldId="282"/>
            <ac:picMk id="7" creationId="{835AB678-3A46-6A44-71BB-3D7114903067}"/>
          </ac:picMkLst>
        </pc:picChg>
      </pc:sldChg>
      <pc:sldChg chg="addSp modSp mod">
        <pc:chgData name="Roberto Gallardo" userId="49a044883f185952" providerId="LiveId" clId="{1A7A7FA1-9DD6-419C-87FF-F3445914817F}" dt="2023-03-15T23:43:41.982" v="84" actId="1076"/>
        <pc:sldMkLst>
          <pc:docMk/>
          <pc:sldMk cId="1326517747" sldId="283"/>
        </pc:sldMkLst>
        <pc:picChg chg="add mod">
          <ac:chgData name="Roberto Gallardo" userId="49a044883f185952" providerId="LiveId" clId="{1A7A7FA1-9DD6-419C-87FF-F3445914817F}" dt="2023-03-15T23:43:41.982" v="84" actId="1076"/>
          <ac:picMkLst>
            <pc:docMk/>
            <pc:sldMk cId="1326517747" sldId="283"/>
            <ac:picMk id="7" creationId="{94635CA3-9B7A-4DFD-02F3-62F72DED8485}"/>
          </ac:picMkLst>
        </pc:picChg>
      </pc:sldChg>
      <pc:sldChg chg="addSp modSp mod">
        <pc:chgData name="Roberto Gallardo" userId="49a044883f185952" providerId="LiveId" clId="{1A7A7FA1-9DD6-419C-87FF-F3445914817F}" dt="2023-03-15T23:43:53.958" v="92" actId="1076"/>
        <pc:sldMkLst>
          <pc:docMk/>
          <pc:sldMk cId="783739251" sldId="284"/>
        </pc:sldMkLst>
        <pc:picChg chg="add mod">
          <ac:chgData name="Roberto Gallardo" userId="49a044883f185952" providerId="LiveId" clId="{1A7A7FA1-9DD6-419C-87FF-F3445914817F}" dt="2023-03-15T23:43:53.958" v="92" actId="1076"/>
          <ac:picMkLst>
            <pc:docMk/>
            <pc:sldMk cId="783739251" sldId="284"/>
            <ac:picMk id="7" creationId="{337F4044-F073-3191-9CFC-8F6275BF49B0}"/>
          </ac:picMkLst>
        </pc:picChg>
      </pc:sldChg>
      <pc:sldChg chg="addSp modSp mod">
        <pc:chgData name="Roberto Gallardo" userId="49a044883f185952" providerId="LiveId" clId="{1A7A7FA1-9DD6-419C-87FF-F3445914817F}" dt="2023-03-15T23:44:13.214" v="107" actId="1076"/>
        <pc:sldMkLst>
          <pc:docMk/>
          <pc:sldMk cId="1676122233" sldId="285"/>
        </pc:sldMkLst>
        <pc:picChg chg="add mod">
          <ac:chgData name="Roberto Gallardo" userId="49a044883f185952" providerId="LiveId" clId="{1A7A7FA1-9DD6-419C-87FF-F3445914817F}" dt="2023-03-15T23:44:13.214" v="107" actId="1076"/>
          <ac:picMkLst>
            <pc:docMk/>
            <pc:sldMk cId="1676122233" sldId="285"/>
            <ac:picMk id="7" creationId="{C7A3A97D-6CA3-E620-4777-1C89B7179977}"/>
          </ac:picMkLst>
        </pc:picChg>
      </pc:sldChg>
      <pc:sldChg chg="addSp modSp mod">
        <pc:chgData name="Roberto Gallardo" userId="49a044883f185952" providerId="LiveId" clId="{1A7A7FA1-9DD6-419C-87FF-F3445914817F}" dt="2023-03-15T23:44:28.454" v="117" actId="1076"/>
        <pc:sldMkLst>
          <pc:docMk/>
          <pc:sldMk cId="3100398757" sldId="286"/>
        </pc:sldMkLst>
        <pc:picChg chg="add mod">
          <ac:chgData name="Roberto Gallardo" userId="49a044883f185952" providerId="LiveId" clId="{1A7A7FA1-9DD6-419C-87FF-F3445914817F}" dt="2023-03-15T23:44:28.454" v="117" actId="1076"/>
          <ac:picMkLst>
            <pc:docMk/>
            <pc:sldMk cId="3100398757" sldId="286"/>
            <ac:picMk id="7" creationId="{947A5B43-2D71-384C-1FF8-CB04B04F0C89}"/>
          </ac:picMkLst>
        </pc:picChg>
      </pc:sldChg>
      <pc:sldChg chg="addSp modSp mod">
        <pc:chgData name="Roberto Gallardo" userId="49a044883f185952" providerId="LiveId" clId="{1A7A7FA1-9DD6-419C-87FF-F3445914817F}" dt="2023-03-15T23:44:41.902" v="126" actId="1076"/>
        <pc:sldMkLst>
          <pc:docMk/>
          <pc:sldMk cId="1546475425" sldId="287"/>
        </pc:sldMkLst>
        <pc:picChg chg="add mod">
          <ac:chgData name="Roberto Gallardo" userId="49a044883f185952" providerId="LiveId" clId="{1A7A7FA1-9DD6-419C-87FF-F3445914817F}" dt="2023-03-15T23:44:41.902" v="126" actId="1076"/>
          <ac:picMkLst>
            <pc:docMk/>
            <pc:sldMk cId="1546475425" sldId="287"/>
            <ac:picMk id="7" creationId="{D9563147-9C8A-CB67-041D-D973AABA102A}"/>
          </ac:picMkLst>
        </pc:picChg>
      </pc:sldChg>
      <pc:sldChg chg="addSp modSp mod">
        <pc:chgData name="Roberto Gallardo" userId="49a044883f185952" providerId="LiveId" clId="{1A7A7FA1-9DD6-419C-87FF-F3445914817F}" dt="2023-03-15T23:45:11.927" v="147" actId="1076"/>
        <pc:sldMkLst>
          <pc:docMk/>
          <pc:sldMk cId="1380517306" sldId="288"/>
        </pc:sldMkLst>
        <pc:picChg chg="add mod">
          <ac:chgData name="Roberto Gallardo" userId="49a044883f185952" providerId="LiveId" clId="{1A7A7FA1-9DD6-419C-87FF-F3445914817F}" dt="2023-03-15T23:45:11.927" v="147" actId="1076"/>
          <ac:picMkLst>
            <pc:docMk/>
            <pc:sldMk cId="1380517306" sldId="288"/>
            <ac:picMk id="7" creationId="{8327BEAD-5DB8-90C8-6411-3D3E36EE88E1}"/>
          </ac:picMkLst>
        </pc:picChg>
      </pc:sldChg>
      <pc:sldChg chg="addSp modSp mod">
        <pc:chgData name="Roberto Gallardo" userId="49a044883f185952" providerId="LiveId" clId="{1A7A7FA1-9DD6-419C-87FF-F3445914817F}" dt="2023-03-15T23:45:25.742" v="157" actId="1076"/>
        <pc:sldMkLst>
          <pc:docMk/>
          <pc:sldMk cId="1388671151" sldId="289"/>
        </pc:sldMkLst>
        <pc:picChg chg="add mod">
          <ac:chgData name="Roberto Gallardo" userId="49a044883f185952" providerId="LiveId" clId="{1A7A7FA1-9DD6-419C-87FF-F3445914817F}" dt="2023-03-15T23:45:25.742" v="157" actId="1076"/>
          <ac:picMkLst>
            <pc:docMk/>
            <pc:sldMk cId="1388671151" sldId="289"/>
            <ac:picMk id="7" creationId="{E155F181-0A9C-A660-7E3B-FBE886633669}"/>
          </ac:picMkLst>
        </pc:picChg>
      </pc:sldChg>
      <pc:sldChg chg="addSp modSp mod">
        <pc:chgData name="Roberto Gallardo" userId="49a044883f185952" providerId="LiveId" clId="{1A7A7FA1-9DD6-419C-87FF-F3445914817F}" dt="2023-03-15T23:45:56.523" v="180" actId="1076"/>
        <pc:sldMkLst>
          <pc:docMk/>
          <pc:sldMk cId="2355376039" sldId="290"/>
        </pc:sldMkLst>
        <pc:picChg chg="add mod">
          <ac:chgData name="Roberto Gallardo" userId="49a044883f185952" providerId="LiveId" clId="{1A7A7FA1-9DD6-419C-87FF-F3445914817F}" dt="2023-03-15T23:45:56.523" v="180" actId="1076"/>
          <ac:picMkLst>
            <pc:docMk/>
            <pc:sldMk cId="2355376039" sldId="290"/>
            <ac:picMk id="8" creationId="{F32D77CB-CF01-2AEF-0E6D-D3FB1D2730A5}"/>
          </ac:picMkLst>
        </pc:picChg>
      </pc:sldChg>
      <pc:sldChg chg="addSp modSp mod">
        <pc:chgData name="Roberto Gallardo" userId="49a044883f185952" providerId="LiveId" clId="{1A7A7FA1-9DD6-419C-87FF-F3445914817F}" dt="2023-03-15T23:46:15.777" v="191" actId="1076"/>
        <pc:sldMkLst>
          <pc:docMk/>
          <pc:sldMk cId="3757257295" sldId="291"/>
        </pc:sldMkLst>
        <pc:picChg chg="add mod">
          <ac:chgData name="Roberto Gallardo" userId="49a044883f185952" providerId="LiveId" clId="{1A7A7FA1-9DD6-419C-87FF-F3445914817F}" dt="2023-03-15T23:46:15.777" v="191" actId="1076"/>
          <ac:picMkLst>
            <pc:docMk/>
            <pc:sldMk cId="3757257295" sldId="291"/>
            <ac:picMk id="8" creationId="{0099F1F7-64E1-36E7-D97D-2BBDBE031C87}"/>
          </ac:picMkLst>
        </pc:picChg>
      </pc:sldChg>
      <pc:sldChg chg="addSp modSp mod">
        <pc:chgData name="Roberto Gallardo" userId="49a044883f185952" providerId="LiveId" clId="{1A7A7FA1-9DD6-419C-87FF-F3445914817F}" dt="2023-03-15T23:44:54.677" v="134" actId="1076"/>
        <pc:sldMkLst>
          <pc:docMk/>
          <pc:sldMk cId="1259856727" sldId="292"/>
        </pc:sldMkLst>
        <pc:picChg chg="add mod">
          <ac:chgData name="Roberto Gallardo" userId="49a044883f185952" providerId="LiveId" clId="{1A7A7FA1-9DD6-419C-87FF-F3445914817F}" dt="2023-03-15T23:44:54.677" v="134" actId="1076"/>
          <ac:picMkLst>
            <pc:docMk/>
            <pc:sldMk cId="1259856727" sldId="292"/>
            <ac:picMk id="7" creationId="{33292F58-E4BB-AD69-987B-5B2732D75921}"/>
          </ac:picMkLst>
        </pc:picChg>
      </pc:sldChg>
      <pc:sldChg chg="addSp modSp mod">
        <pc:chgData name="Roberto Gallardo" userId="49a044883f185952" providerId="LiveId" clId="{1A7A7FA1-9DD6-419C-87FF-F3445914817F}" dt="2023-03-15T23:42:54.873" v="52" actId="1076"/>
        <pc:sldMkLst>
          <pc:docMk/>
          <pc:sldMk cId="3324519687" sldId="293"/>
        </pc:sldMkLst>
        <pc:picChg chg="add mod">
          <ac:chgData name="Roberto Gallardo" userId="49a044883f185952" providerId="LiveId" clId="{1A7A7FA1-9DD6-419C-87FF-F3445914817F}" dt="2023-03-15T23:42:54.873" v="52" actId="1076"/>
          <ac:picMkLst>
            <pc:docMk/>
            <pc:sldMk cId="3324519687" sldId="293"/>
            <ac:picMk id="7" creationId="{A738CF1D-3B2C-4CB6-65C6-8178076A81F1}"/>
          </ac:picMkLst>
        </pc:picChg>
      </pc:sldChg>
      <pc:sldChg chg="addSp modSp mod">
        <pc:chgData name="Roberto Gallardo" userId="49a044883f185952" providerId="LiveId" clId="{1A7A7FA1-9DD6-419C-87FF-F3445914817F}" dt="2023-03-15T23:42:14.637" v="30" actId="1076"/>
        <pc:sldMkLst>
          <pc:docMk/>
          <pc:sldMk cId="3256182630" sldId="295"/>
        </pc:sldMkLst>
        <pc:picChg chg="add mod">
          <ac:chgData name="Roberto Gallardo" userId="49a044883f185952" providerId="LiveId" clId="{1A7A7FA1-9DD6-419C-87FF-F3445914817F}" dt="2023-03-15T23:42:14.637" v="30" actId="1076"/>
          <ac:picMkLst>
            <pc:docMk/>
            <pc:sldMk cId="3256182630" sldId="295"/>
            <ac:picMk id="7" creationId="{9F9AFD2D-53FD-3945-A36A-DF7996F62205}"/>
          </ac:picMkLst>
        </pc:picChg>
      </pc:sldChg>
      <pc:sldChg chg="addSp modSp mod">
        <pc:chgData name="Roberto Gallardo" userId="49a044883f185952" providerId="LiveId" clId="{1A7A7FA1-9DD6-419C-87FF-F3445914817F}" dt="2023-03-15T23:42:33.682" v="41" actId="1076"/>
        <pc:sldMkLst>
          <pc:docMk/>
          <pc:sldMk cId="4057156843" sldId="296"/>
        </pc:sldMkLst>
        <pc:picChg chg="add mod">
          <ac:chgData name="Roberto Gallardo" userId="49a044883f185952" providerId="LiveId" clId="{1A7A7FA1-9DD6-419C-87FF-F3445914817F}" dt="2023-03-15T23:42:33.682" v="41" actId="1076"/>
          <ac:picMkLst>
            <pc:docMk/>
            <pc:sldMk cId="4057156843" sldId="296"/>
            <ac:picMk id="7" creationId="{59FAF4BB-532C-7B2F-56D4-5E6E37CB9E7F}"/>
          </ac:picMkLst>
        </pc:picChg>
      </pc:sldChg>
      <pc:sldChg chg="addSp modSp mod">
        <pc:chgData name="Roberto Gallardo" userId="49a044883f185952" providerId="LiveId" clId="{1A7A7FA1-9DD6-419C-87FF-F3445914817F}" dt="2023-03-15T23:42:00.254" v="23" actId="1076"/>
        <pc:sldMkLst>
          <pc:docMk/>
          <pc:sldMk cId="2080110827" sldId="297"/>
        </pc:sldMkLst>
        <pc:picChg chg="add mod">
          <ac:chgData name="Roberto Gallardo" userId="49a044883f185952" providerId="LiveId" clId="{1A7A7FA1-9DD6-419C-87FF-F3445914817F}" dt="2023-03-15T23:42:00.254" v="23" actId="1076"/>
          <ac:picMkLst>
            <pc:docMk/>
            <pc:sldMk cId="2080110827" sldId="297"/>
            <ac:picMk id="6" creationId="{75BC4AB7-DC2E-47F7-E5E4-FF5DFDA9ECD1}"/>
          </ac:picMkLst>
        </pc:picChg>
      </pc:sldChg>
      <pc:sldChg chg="addSp modSp mod">
        <pc:chgData name="Roberto Gallardo" userId="49a044883f185952" providerId="LiveId" clId="{1A7A7FA1-9DD6-419C-87FF-F3445914817F}" dt="2023-03-15T23:41:43.671" v="16" actId="1076"/>
        <pc:sldMkLst>
          <pc:docMk/>
          <pc:sldMk cId="1532666867" sldId="298"/>
        </pc:sldMkLst>
        <pc:picChg chg="add mod">
          <ac:chgData name="Roberto Gallardo" userId="49a044883f185952" providerId="LiveId" clId="{1A7A7FA1-9DD6-419C-87FF-F3445914817F}" dt="2023-03-15T23:41:43.671" v="16" actId="1076"/>
          <ac:picMkLst>
            <pc:docMk/>
            <pc:sldMk cId="1532666867" sldId="298"/>
            <ac:picMk id="6" creationId="{DFDDF381-BC14-ADE3-3648-0FEBCD787CEE}"/>
          </ac:picMkLst>
        </pc:picChg>
      </pc:sldChg>
      <pc:sldChg chg="addSp modSp mod">
        <pc:chgData name="Roberto Gallardo" userId="49a044883f185952" providerId="LiveId" clId="{1A7A7FA1-9DD6-419C-87FF-F3445914817F}" dt="2023-03-15T23:45:39.666" v="167" actId="1076"/>
        <pc:sldMkLst>
          <pc:docMk/>
          <pc:sldMk cId="1951376777" sldId="299"/>
        </pc:sldMkLst>
        <pc:picChg chg="add mod">
          <ac:chgData name="Roberto Gallardo" userId="49a044883f185952" providerId="LiveId" clId="{1A7A7FA1-9DD6-419C-87FF-F3445914817F}" dt="2023-03-15T23:45:39.666" v="167" actId="1076"/>
          <ac:picMkLst>
            <pc:docMk/>
            <pc:sldMk cId="1951376777" sldId="299"/>
            <ac:picMk id="7" creationId="{345A327E-1C7F-6027-BB69-CEA369E7E8B8}"/>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Macon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92FBE10-B6BF-08B4-9EA5-D762CE077415}"/>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8C610304-AA4A-46D5-71B0-50E7C7BEF72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93CF19B-8C6B-9A1C-8B87-3A2CA8DAB8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06475"/>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DDF381-BC14-ADE3-3648-0FEBCD787C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5BC4AB7-DC2E-47F7-E5E4-FF5DFDA9EC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798A18E-D473-2A0A-C636-1B2FDE5E7639}"/>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9F9AFD2D-53FD-3945-A36A-DF7996F622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8CF7CA5-57AA-0AD9-2AE6-BE0745B5AD71}"/>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59FAF4BB-532C-7B2F-56D4-5E6E37CB9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9339"/>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FE285C1-EE97-4201-FAA2-AC245C5131AC}"/>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A738CF1D-3B2C-4CB6-65C6-8178076A81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34724A2-7F90-0CB4-3BA0-BF985DE01EE2}"/>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3823E625-5180-B02D-E3FD-DA6C3716CF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AA05197-C9C5-3256-6253-D4466FEAF3A6}"/>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835AB678-3A46-6A44-71BB-3D71149030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123717E-26F8-72A0-A9D7-471AFF454BC7}"/>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94635CA3-9B7A-4DFD-02F3-62F72DED84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FF79F4B-8325-5F9E-FBA5-156A83D362C6}"/>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337F4044-F073-3191-9CFC-8F6275BF49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13811C6-5077-F1A7-70CE-5CDA3670E257}"/>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C7A3A97D-6CA3-E620-4777-1C89B71799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1"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92EA09B-D979-0DF9-88C4-45B4E933647E}"/>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947A5B43-2D71-384C-1FF8-CB04B04F0C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439A1A4-7DDB-9C3F-3129-4A3BB1A11BC5}"/>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9563147-9C8A-CB67-041D-D973AABA10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89C612A-2D74-0283-7A56-7170E8D8F8FB}"/>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33292F58-E4BB-AD69-987B-5B2732D759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E5A94C1-74EB-E612-4AF0-8632631C0D42}"/>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8327BEAD-5DB8-90C8-6411-3D3E36EE88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2"/>
            <a:ext cx="6400799" cy="452637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2445FF5-4F3D-4B14-43EF-5F031C4E621C}"/>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E155F181-0A9C-A660-7E3B-FBE8866336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992"/>
            <a:ext cx="6395428" cy="452257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B04126F5-FC4D-79C6-D7A0-32B9FA3F6FA3}"/>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345A327E-1C7F-6027-BB69-CEA369E7E8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293BB62-E7FC-B263-0198-C25F8495D503}"/>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F32D77CB-CF01-2AEF-0E6D-D3FB1D2730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8C50073-191C-C36F-03AB-97EFF25D15C8}"/>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F3D4B3CD-B3FA-4F05-A512-6451C70203D7}"/>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0099F1F7-64E1-36E7-D97D-2BBDBE031C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758" y="1415542"/>
            <a:ext cx="6391842" cy="45200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DA687FA-498C-7C02-5921-881C632CFC17}"/>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3C956B5-2899-87DA-51E1-729B9E5DCD13}"/>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EF8F6A4-1DD7-F7C7-7BF3-A5B4EC8ABA76}"/>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1987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74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472066"/>
            <a:ext cx="1198148" cy="2417078"/>
            <a:chOff x="10485745" y="2473233"/>
            <a:chExt cx="1198148" cy="241707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16165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7323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73233"/>
              <a:ext cx="0" cy="68841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054202"/>
              <a:ext cx="0" cy="83610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D0B516F-BAC2-B363-4A00-CFEDBFFB2753}"/>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1929881-ED90-928D-4545-AAF5C7AD0135}"/>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0ABE051-4707-1C8D-9982-263E85610439}"/>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30A7E3C3-3B2A-5EA6-6D2F-56BF7593F82C}"/>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EB7E4A2-471A-D085-E426-6FC1E23F652C}"/>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39B21CE-1812-921E-5280-17F6DA223169}"/>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FEC3CEA-A3D5-1D30-7461-6B741AF5C0BB}"/>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1C2FA47-40E6-521B-6DFF-C0A5CA74579D}"/>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8</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3</cp:revision>
  <dcterms:created xsi:type="dcterms:W3CDTF">2022-07-04T13:32:28Z</dcterms:created>
  <dcterms:modified xsi:type="dcterms:W3CDTF">2023-03-15T23:46:24Z</dcterms:modified>
</cp:coreProperties>
</file>